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4"/>
    <p:sldMasterId id="2147483768" r:id="rId5"/>
    <p:sldMasterId id="2147483756" r:id="rId6"/>
  </p:sldMasterIdLst>
  <p:notesMasterIdLst>
    <p:notesMasterId r:id="rId23"/>
  </p:notesMasterIdLst>
  <p:handoutMasterIdLst>
    <p:handoutMasterId r:id="rId24"/>
  </p:handoutMasterIdLst>
  <p:sldIdLst>
    <p:sldId id="361" r:id="rId7"/>
    <p:sldId id="362" r:id="rId8"/>
    <p:sldId id="363" r:id="rId9"/>
    <p:sldId id="364" r:id="rId10"/>
    <p:sldId id="365" r:id="rId11"/>
    <p:sldId id="366" r:id="rId12"/>
    <p:sldId id="367" r:id="rId13"/>
    <p:sldId id="368" r:id="rId14"/>
    <p:sldId id="369" r:id="rId15"/>
    <p:sldId id="370" r:id="rId16"/>
    <p:sldId id="371" r:id="rId17"/>
    <p:sldId id="372" r:id="rId18"/>
    <p:sldId id="373" r:id="rId19"/>
    <p:sldId id="374" r:id="rId20"/>
    <p:sldId id="375" r:id="rId21"/>
    <p:sldId id="376" r:id="rId22"/>
  </p:sldIdLst>
  <p:sldSz cx="9144000" cy="6858000" type="screen4x3"/>
  <p:notesSz cx="7010400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7">
          <p15:clr>
            <a:srgbClr val="A4A3A4"/>
          </p15:clr>
        </p15:guide>
        <p15:guide id="2" orient="horz" pos="4209">
          <p15:clr>
            <a:srgbClr val="A4A3A4"/>
          </p15:clr>
        </p15:guide>
        <p15:guide id="3" orient="horz" pos="375">
          <p15:clr>
            <a:srgbClr val="A4A3A4"/>
          </p15:clr>
        </p15:guide>
        <p15:guide id="4" orient="horz" pos="984">
          <p15:clr>
            <a:srgbClr val="A4A3A4"/>
          </p15:clr>
        </p15:guide>
        <p15:guide id="5" orient="horz" pos="1017">
          <p15:clr>
            <a:srgbClr val="A4A3A4"/>
          </p15:clr>
        </p15:guide>
        <p15:guide id="6" orient="horz" pos="3669">
          <p15:clr>
            <a:srgbClr val="A4A3A4"/>
          </p15:clr>
        </p15:guide>
        <p15:guide id="7" pos="332">
          <p15:clr>
            <a:srgbClr val="A4A3A4"/>
          </p15:clr>
        </p15:guide>
        <p15:guide id="8" pos="5418">
          <p15:clr>
            <a:srgbClr val="A4A3A4"/>
          </p15:clr>
        </p15:guide>
        <p15:guide id="9" pos="2773">
          <p15:clr>
            <a:srgbClr val="A4A3A4"/>
          </p15:clr>
        </p15:guide>
        <p15:guide id="10" pos="3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11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2929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AA41A"/>
    <a:srgbClr val="424242"/>
    <a:srgbClr val="0076BE"/>
    <a:srgbClr val="5EAE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23" autoAdjust="0"/>
    <p:restoredTop sz="82005" autoAdjust="0"/>
  </p:normalViewPr>
  <p:slideViewPr>
    <p:cSldViewPr snapToGrid="0" showGuides="1">
      <p:cViewPr varScale="1">
        <p:scale>
          <a:sx n="93" d="100"/>
          <a:sy n="93" d="100"/>
        </p:scale>
        <p:origin x="1122" y="84"/>
      </p:cViewPr>
      <p:guideLst>
        <p:guide orient="horz" pos="3987"/>
        <p:guide orient="horz" pos="4209"/>
        <p:guide orient="horz" pos="375"/>
        <p:guide orient="horz" pos="984"/>
        <p:guide orient="horz" pos="1017"/>
        <p:guide orient="horz" pos="3669"/>
        <p:guide pos="332"/>
        <p:guide pos="5418"/>
        <p:guide pos="2773"/>
        <p:guide pos="3007"/>
      </p:guideLst>
    </p:cSldViewPr>
  </p:slideViewPr>
  <p:outlineViewPr>
    <p:cViewPr>
      <p:scale>
        <a:sx n="33" d="100"/>
        <a:sy n="33" d="100"/>
      </p:scale>
      <p:origin x="0" y="-4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3822" y="66"/>
      </p:cViewPr>
      <p:guideLst>
        <p:guide orient="horz" pos="2911"/>
        <p:guide pos="2160"/>
        <p:guide orient="horz" pos="2929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9/5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9/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20" tIns="46310" rIns="92620" bIns="4631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2620" tIns="46310" rIns="92620" bIns="4631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2620" tIns="46310" rIns="92620" bIns="46310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294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070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ventative</a:t>
            </a:r>
            <a:r>
              <a:rPr lang="en-US" baseline="0" dirty="0"/>
              <a:t> maintenance is conducted bi-weekly and corrective maintenance as need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916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041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etles</a:t>
            </a:r>
            <a:r>
              <a:rPr lang="en-US" baseline="0" dirty="0"/>
              <a:t> are collected every 2 weeks, start and ending of sampling is dictated by when plants at the sites begin and end their growing season.  Our sites range from 6-10 collections/site/year.  Collected beetles are brought back into the lab for processing and identification.  Samples are then shipped to taxonomists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9EDD4-76B0-2144-883C-A0FB16EB041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5661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9EDD4-76B0-2144-883C-A0FB16EB041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8904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squitoes</a:t>
            </a:r>
            <a:r>
              <a:rPr lang="en-US" baseline="0" dirty="0"/>
              <a:t> are samples to gather data on species abundance, diversity, and pathogen presence.  Mosquitoes are sampled bi-weekly at core sites and monthly at relocatable sites.  Samples are transported from the field on dry ice, stored in ultra-low freezers in the lab, and then shipped to external laboratories for species identification and pathogen analys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0833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cks</a:t>
            </a:r>
            <a:r>
              <a:rPr lang="en-US" baseline="0" dirty="0"/>
              <a:t> are sampled at all sites at either 3 or 6 week interval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9EDD4-76B0-2144-883C-A0FB16EB041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817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mall mammal sampling is conducted around the new moon.  We</a:t>
            </a:r>
            <a:r>
              <a:rPr lang="en-US" baseline="0" dirty="0"/>
              <a:t> sampling monthly at c</a:t>
            </a:r>
            <a:r>
              <a:rPr lang="en-US" dirty="0"/>
              <a:t>ore sites (CPER and NIWO) and bi-monthly at </a:t>
            </a:r>
            <a:r>
              <a:rPr lang="en-US" dirty="0" err="1"/>
              <a:t>relocatables</a:t>
            </a:r>
            <a:r>
              <a:rPr lang="en-US" dirty="0"/>
              <a:t> (STER, RMNP).</a:t>
            </a:r>
            <a:r>
              <a:rPr lang="en-US" baseline="0" dirty="0"/>
              <a:t>  The goal is to conduct 6 trapping bouts at core sites and 4 at </a:t>
            </a:r>
            <a:r>
              <a:rPr lang="en-US" baseline="0" dirty="0" err="1"/>
              <a:t>relocatables</a:t>
            </a:r>
            <a:r>
              <a:rPr lang="en-US" baseline="0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605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9EDD4-76B0-2144-883C-A0FB16EB041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287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9EDD4-76B0-2144-883C-A0FB16EB0411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866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7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6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7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06"/>
          <a:stretch/>
        </p:blipFill>
        <p:spPr>
          <a:xfrm>
            <a:off x="-1" y="2"/>
            <a:ext cx="9144001" cy="6376987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4529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877B51CD-CB4F-419A-B9D1-3A432DC93F5B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643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06"/>
          <a:stretch/>
        </p:blipFill>
        <p:spPr>
          <a:xfrm>
            <a:off x="-1" y="2"/>
            <a:ext cx="9144001" cy="6376987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09411A2-0057-4B5D-AE0F-C439A89354DB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82964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3857625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28032" y="1865376"/>
            <a:ext cx="3858768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4169664"/>
            <a:ext cx="3857625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4828032" y="4169664"/>
            <a:ext cx="3858768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18"/>
          </p:nvPr>
        </p:nvSpPr>
        <p:spPr>
          <a:xfrm>
            <a:off x="466344" y="1481328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9"/>
          </p:nvPr>
        </p:nvSpPr>
        <p:spPr>
          <a:xfrm>
            <a:off x="4828032" y="1481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20"/>
          </p:nvPr>
        </p:nvSpPr>
        <p:spPr>
          <a:xfrm>
            <a:off x="466344" y="3767328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21"/>
          </p:nvPr>
        </p:nvSpPr>
        <p:spPr>
          <a:xfrm>
            <a:off x="4828032" y="3767328"/>
            <a:ext cx="3858768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11781BA-40BD-4733-9F3B-E5D3110E1532}" type="datetime1">
              <a:rPr lang="en-US" smtClean="0"/>
              <a:t>9/5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Add data classification or delete this footer</a:t>
            </a:r>
            <a:endParaRPr lang="en-US" dirty="0"/>
          </a:p>
        </p:txBody>
      </p:sp>
      <p:sp>
        <p:nvSpPr>
          <p:cNvPr id="34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9" name="Group 28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30" name="Rectangle 29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Rectangle 30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36" name="Rectangle 35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8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541659" y="4044704"/>
            <a:ext cx="3857625" cy="1660672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4760403" y="4050258"/>
            <a:ext cx="3840672" cy="167005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4" name="Title 27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5" name="Date Placeholder 28"/>
          <p:cNvSpPr>
            <a:spLocks noGrp="1"/>
          </p:cNvSpPr>
          <p:nvPr>
            <p:ph type="dt" sz="half" idx="15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958B630-EA1D-4982-B1F9-8A498B649054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46" name="Footer Placeholder 29"/>
          <p:cNvSpPr>
            <a:spLocks noGrp="1"/>
          </p:cNvSpPr>
          <p:nvPr>
            <p:ph type="ftr" sz="quarter" idx="16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47" name="Slide Number Placeholder 30"/>
          <p:cNvSpPr>
            <a:spLocks noGrp="1"/>
          </p:cNvSpPr>
          <p:nvPr>
            <p:ph type="sldNum" sz="quarter" idx="17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ext Placeholder 39"/>
          <p:cNvSpPr>
            <a:spLocks noGrp="1"/>
          </p:cNvSpPr>
          <p:nvPr>
            <p:ph type="body" sz="quarter" idx="18"/>
          </p:nvPr>
        </p:nvSpPr>
        <p:spPr>
          <a:xfrm>
            <a:off x="541659" y="1606169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9" name="Text Placeholder 39"/>
          <p:cNvSpPr>
            <a:spLocks noGrp="1"/>
          </p:cNvSpPr>
          <p:nvPr>
            <p:ph type="body" sz="quarter" idx="19"/>
          </p:nvPr>
        </p:nvSpPr>
        <p:spPr>
          <a:xfrm>
            <a:off x="4760404" y="1608444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0" name="Text Placeholder 39"/>
          <p:cNvSpPr>
            <a:spLocks noGrp="1"/>
          </p:cNvSpPr>
          <p:nvPr>
            <p:ph type="body" sz="quarter" idx="20"/>
          </p:nvPr>
        </p:nvSpPr>
        <p:spPr>
          <a:xfrm>
            <a:off x="541659" y="3680261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1" name="Text Placeholder 39"/>
          <p:cNvSpPr>
            <a:spLocks noGrp="1"/>
          </p:cNvSpPr>
          <p:nvPr>
            <p:ph type="body" sz="quarter" idx="21"/>
          </p:nvPr>
        </p:nvSpPr>
        <p:spPr>
          <a:xfrm>
            <a:off x="4760404" y="3682536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52" name="TextBox 51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12159571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393192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3613" y="1481328"/>
            <a:ext cx="3904488" cy="34747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3613" y="1892808"/>
            <a:ext cx="3904488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DB4B690D-2FE3-4DDA-8247-574E28A53499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Box 12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5801800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393192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393192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5249" y="1481328"/>
            <a:ext cx="3904488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75249" y="1901952"/>
            <a:ext cx="3904488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393192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73613" y="2377440"/>
            <a:ext cx="3904488" cy="369417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641103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AA99455-4F0F-412A-85EE-EE540CB8F14C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Box 8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9226118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AA99455-4F0F-412A-85EE-EE540CB8F14C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821EA781-99F4-4792-B554-5B26AF6F46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894626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19" b="20415"/>
          <a:stretch/>
        </p:blipFill>
        <p:spPr>
          <a:xfrm>
            <a:off x="-2" y="-1"/>
            <a:ext cx="9144000" cy="3623715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/>
        </p:nvSpPr>
        <p:spPr bwMode="gray">
          <a:xfrm>
            <a:off x="-1" y="3246120"/>
            <a:ext cx="9143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935307" y="6225331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3259" y="4375099"/>
            <a:ext cx="2586276" cy="75800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125" y="4309031"/>
            <a:ext cx="2052261" cy="824070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4419600" y="3884028"/>
            <a:ext cx="0" cy="1608667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05"/>
          <a:stretch/>
        </p:blipFill>
        <p:spPr>
          <a:xfrm>
            <a:off x="-2" y="-1171"/>
            <a:ext cx="9144002" cy="3503650"/>
          </a:xfrm>
          <a:prstGeom prst="rect">
            <a:avLst/>
          </a:prstGeom>
        </p:spPr>
      </p:pic>
      <p:sp>
        <p:nvSpPr>
          <p:cNvPr id="12" name="TextBox 11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27557" y="6092706"/>
            <a:ext cx="7688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5" name="Picture 14" descr="Globe_NEON_cmyk.png"/>
          <p:cNvPicPr>
            <a:picLocks noChangeAspect="1"/>
          </p:cNvPicPr>
          <p:nvPr userDrawn="1"/>
        </p:nvPicPr>
        <p:blipFill rotWithShape="1">
          <a:blip r:embed="rId7"/>
          <a:srcRect l="29899" r="3513"/>
          <a:stretch/>
        </p:blipFill>
        <p:spPr>
          <a:xfrm>
            <a:off x="5153125" y="4533099"/>
            <a:ext cx="2268869" cy="917519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4600575" y="4295775"/>
            <a:ext cx="0" cy="123571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361268" y="5748252"/>
            <a:ext cx="84214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accent1"/>
                </a:solidFill>
              </a:rPr>
              <a:t>National Ecological Observatory Network is a project sponsored by the National Science Foundation and operated under cooperative agreement by Battelle.</a:t>
            </a:r>
          </a:p>
        </p:txBody>
      </p:sp>
    </p:spTree>
    <p:extLst>
      <p:ext uri="{BB962C8B-B14F-4D97-AF65-F5344CB8AC3E}">
        <p14:creationId xmlns:p14="http://schemas.microsoft.com/office/powerpoint/2010/main" val="1653929612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0" y="0"/>
            <a:ext cx="9144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 bwMode="white">
          <a:xfrm flipV="1">
            <a:off x="0" y="5963438"/>
            <a:ext cx="9144000" cy="8945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/>
        </p:nvSpPr>
        <p:spPr bwMode="gray">
          <a:xfrm>
            <a:off x="0" y="524365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 bwMode="gray">
          <a:xfrm>
            <a:off x="0" y="5538524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06" y="2070100"/>
            <a:ext cx="3567662" cy="104563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971" y="1927528"/>
            <a:ext cx="2959100" cy="1188205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4419600" y="1659469"/>
            <a:ext cx="0" cy="160866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35307" y="6208398"/>
            <a:ext cx="7273401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 dirty="0" smtClean="0">
                <a:solidFill>
                  <a:schemeClr val="tx2"/>
                </a:solidFill>
              </a:rPr>
              <a:t>720.746.4844 | </a:t>
            </a:r>
            <a:r>
              <a:rPr lang="en-US" sz="1560" b="1" dirty="0" err="1" smtClean="0">
                <a:solidFill>
                  <a:schemeClr val="tx2"/>
                </a:solidFill>
              </a:rPr>
              <a:t>neonscience@battelleecology.org</a:t>
            </a:r>
            <a:r>
              <a:rPr lang="en-US" sz="1560" b="1" baseline="0" dirty="0" smtClean="0">
                <a:solidFill>
                  <a:schemeClr val="tx2"/>
                </a:solidFill>
              </a:rPr>
              <a:t>   </a:t>
            </a:r>
            <a:r>
              <a:rPr lang="en-US" sz="1560" b="1" baseline="0" dirty="0">
                <a:solidFill>
                  <a:schemeClr val="tx2"/>
                </a:solidFill>
              </a:rPr>
              <a:t>|  </a:t>
            </a:r>
            <a:r>
              <a:rPr lang="en-US" sz="1560" b="1" baseline="0" dirty="0" smtClean="0">
                <a:solidFill>
                  <a:schemeClr val="tx2"/>
                </a:solidFill>
              </a:rPr>
              <a:t>www.neonscience.org</a:t>
            </a:r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0" y="-8165"/>
            <a:ext cx="9144000" cy="6083107"/>
          </a:xfrm>
          <a:prstGeom prst="rect">
            <a:avLst/>
          </a:prstGeom>
          <a:solidFill>
            <a:srgbClr val="03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13" name="Picture 12" descr="Globe_NEON_white_PPT.png"/>
          <p:cNvPicPr>
            <a:picLocks noChangeAspect="1"/>
          </p:cNvPicPr>
          <p:nvPr userDrawn="1"/>
        </p:nvPicPr>
        <p:blipFill rotWithShape="1">
          <a:blip r:embed="rId4"/>
          <a:srcRect l="29127" r="3287"/>
          <a:stretch/>
        </p:blipFill>
        <p:spPr>
          <a:xfrm>
            <a:off x="5011514" y="4158236"/>
            <a:ext cx="1593393" cy="634854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4503564" y="4048637"/>
            <a:ext cx="0" cy="8431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701910" y="6416556"/>
            <a:ext cx="7740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361269" y="5218599"/>
            <a:ext cx="8421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National Ecological Observatory Network is a project sponsored by the National Science Foundation and operated under cooperative agreement by Battelle.</a:t>
            </a:r>
          </a:p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655887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1" t="18044" r="8942" b="1"/>
          <a:stretch/>
        </p:blipFill>
        <p:spPr>
          <a:xfrm>
            <a:off x="0" y="-1"/>
            <a:ext cx="9144000" cy="609512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/>
        </p:nvSpPr>
        <p:spPr>
          <a:xfrm>
            <a:off x="0" y="-873"/>
            <a:ext cx="4773613" cy="63302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1000"/>
                </a:schemeClr>
              </a:gs>
              <a:gs pos="100000">
                <a:schemeClr val="tx1">
                  <a:tint val="23500"/>
                  <a:satMod val="16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877B51CD-CB4F-419A-B9D1-3A432DC93F5B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2889250"/>
            <a:ext cx="9144000" cy="2540000"/>
          </a:xfrm>
          <a:prstGeom prst="rect">
            <a:avLst/>
          </a:prstGeom>
          <a:solidFill>
            <a:srgbClr val="424242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189789"/>
            <a:ext cx="9144000" cy="491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2" y="457200"/>
            <a:ext cx="3273733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544514" y="2889251"/>
            <a:ext cx="8056562" cy="1558058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TextBox 1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44512" y="4523014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548818" y="4841316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operated under cooperative agreement by Battelle.</a:t>
            </a: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034B14E8-5F0A-4E5B-834A-F6D1B26D44B7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44512" y="342901"/>
            <a:ext cx="8056563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3" y="4560889"/>
            <a:ext cx="804291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483507" y="2730872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507999" y="3091834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operated under cooperative agreement by Battelle.</a:t>
            </a:r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4"/>
            <a:ext cx="9144001" cy="637699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65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A5C1683-9B29-42FB-AAC0-E7BD2AA0967D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59397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468" y="342901"/>
            <a:ext cx="8084608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29277" y="4560889"/>
            <a:ext cx="8071798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475341" y="3088554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accent1"/>
                </a:solidFill>
              </a:rPr>
              <a:t>A project sponsored by the National Science Foundation and operated under cooperative agreement by Battelle.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459015" y="2730872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National Ecological Observatory Network</a:t>
            </a:r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659" y="1961222"/>
            <a:ext cx="3857625" cy="156254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0404" y="1962760"/>
            <a:ext cx="3840671" cy="154598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11" name="Rectangle 10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9" name="Group 48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14" name="Rectangle 13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3" name="Text Placeholder 22"/>
          <p:cNvSpPr>
            <a:spLocks noGrp="1"/>
          </p:cNvSpPr>
          <p:nvPr userDrawn="1">
            <p:ph type="body" sz="quarter" idx="13"/>
          </p:nvPr>
        </p:nvSpPr>
        <p:spPr>
          <a:xfrm>
            <a:off x="541659" y="4044704"/>
            <a:ext cx="3857625" cy="1660672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/>
          </p:nvPr>
        </p:nvSpPr>
        <p:spPr>
          <a:xfrm>
            <a:off x="4760403" y="4050258"/>
            <a:ext cx="3840672" cy="167005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9" name="Date Placeholder 28"/>
          <p:cNvSpPr>
            <a:spLocks noGrp="1"/>
          </p:cNvSpPr>
          <p:nvPr userDrawn="1">
            <p:ph type="dt" sz="half" idx="15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958B630-EA1D-4982-B1F9-8A498B649054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30" name="Footer Placeholder 29"/>
          <p:cNvSpPr>
            <a:spLocks noGrp="1"/>
          </p:cNvSpPr>
          <p:nvPr userDrawn="1">
            <p:ph type="ftr" sz="quarter" idx="16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1" name="Slide Number Placeholder 30"/>
          <p:cNvSpPr>
            <a:spLocks noGrp="1"/>
          </p:cNvSpPr>
          <p:nvPr userDrawn="1">
            <p:ph type="sldNum" sz="quarter" idx="17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541659" y="1606169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4760404" y="1608444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541659" y="3680261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4760404" y="3682536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TextBox 19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05"/>
          <a:stretch/>
        </p:blipFill>
        <p:spPr>
          <a:xfrm>
            <a:off x="-2" y="-1171"/>
            <a:ext cx="9144002" cy="35036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3438525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513" y="4533099"/>
            <a:ext cx="3471335" cy="93798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3177011"/>
            <a:ext cx="9144000" cy="541867"/>
          </a:xfrm>
          <a:prstGeom prst="rect">
            <a:avLst/>
          </a:prstGeom>
          <a:solidFill>
            <a:srgbClr val="0371B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7557" y="6092706"/>
            <a:ext cx="7688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8" name="Picture 17" descr="Globe_NEON_cmyk.png"/>
          <p:cNvPicPr>
            <a:picLocks noChangeAspect="1"/>
          </p:cNvPicPr>
          <p:nvPr userDrawn="1"/>
        </p:nvPicPr>
        <p:blipFill rotWithShape="1">
          <a:blip r:embed="rId4"/>
          <a:srcRect l="29899" r="3513"/>
          <a:stretch/>
        </p:blipFill>
        <p:spPr>
          <a:xfrm>
            <a:off x="5153125" y="4533099"/>
            <a:ext cx="2268869" cy="917519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4600575" y="4295775"/>
            <a:ext cx="0" cy="123571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361268" y="5748252"/>
            <a:ext cx="84214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accent1"/>
                </a:solidFill>
              </a:rPr>
              <a:t>National Ecological Observatory Network is a project sponsored by the National Science Foundation and operated under cooperative agreement by Battelle.</a:t>
            </a:r>
          </a:p>
        </p:txBody>
      </p:sp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-8165"/>
            <a:ext cx="9144000" cy="6083107"/>
          </a:xfrm>
          <a:prstGeom prst="rect">
            <a:avLst/>
          </a:prstGeom>
          <a:solidFill>
            <a:srgbClr val="03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413" y="4158236"/>
            <a:ext cx="2362200" cy="637245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 bwMode="gray">
          <a:xfrm>
            <a:off x="0" y="5824310"/>
            <a:ext cx="9144000" cy="472733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26" name="Picture 25" descr="Globe_NEON_white_PPT.png"/>
          <p:cNvPicPr>
            <a:picLocks noChangeAspect="1"/>
          </p:cNvPicPr>
          <p:nvPr userDrawn="1"/>
        </p:nvPicPr>
        <p:blipFill rotWithShape="1">
          <a:blip r:embed="rId3"/>
          <a:srcRect l="29127" r="3287"/>
          <a:stretch/>
        </p:blipFill>
        <p:spPr>
          <a:xfrm>
            <a:off x="5011514" y="4158236"/>
            <a:ext cx="1593393" cy="634854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503564" y="4048637"/>
            <a:ext cx="0" cy="8431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701910" y="6416556"/>
            <a:ext cx="7740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61269" y="5218599"/>
            <a:ext cx="8421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bg1"/>
                </a:solidFill>
              </a:rPr>
              <a:t>National Ecological Observatory Network is a project sponsored by the National Science Foundation and operated under cooperative agreement by Battelle.</a:t>
            </a:r>
          </a:p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with green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5800" y="1207008"/>
            <a:ext cx="7772400" cy="4572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76"/>
              </a:spcBef>
              <a:buFontTx/>
              <a:buNone/>
              <a:defRPr sz="2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915840"/>
            <a:ext cx="9144000" cy="15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9769"/>
            <a:ext cx="8229600" cy="78153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30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469667" y="653292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153518" y="6532922"/>
            <a:ext cx="651917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36D6F7B0-F2CD-7E47-8ADC-5FFE04B522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6"/>
          <p:cNvSpPr>
            <a:spLocks noGrp="1"/>
          </p:cNvSpPr>
          <p:nvPr>
            <p:ph type="dt" sz="half" idx="10"/>
          </p:nvPr>
        </p:nvSpPr>
        <p:spPr>
          <a:xfrm>
            <a:off x="1445846" y="6532922"/>
            <a:ext cx="749614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9FFDDBFD-5FB0-6846-9D7E-B92FEB14341C}" type="datetimeFigureOut">
              <a:rPr lang="en-US" smtClean="0"/>
              <a:pPr/>
              <a:t>9/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7684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76923" y="1074615"/>
            <a:ext cx="7326923" cy="390769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76"/>
              </a:spcBef>
              <a:buFontTx/>
              <a:buNone/>
              <a:defRPr sz="2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9769"/>
            <a:ext cx="8229600" cy="78153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30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0"/>
          </p:nvPr>
        </p:nvSpPr>
        <p:spPr>
          <a:xfrm>
            <a:off x="1486271" y="6437882"/>
            <a:ext cx="749614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9FFDDBFD-5FB0-6846-9D7E-B92FEB14341C}" type="datetimeFigureOut">
              <a:rPr lang="en-US" smtClean="0"/>
              <a:pPr/>
              <a:t>9/5/2017</a:t>
            </a:fld>
            <a:endParaRPr lang="en-US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687272" y="653292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492083" y="6532922"/>
            <a:ext cx="651917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36D6F7B0-F2CD-7E47-8ADC-5FFE04B522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8136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1445846" y="1006230"/>
            <a:ext cx="6270655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8153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30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915840"/>
            <a:ext cx="9144000" cy="15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>
          <a:xfrm>
            <a:off x="1486271" y="6437882"/>
            <a:ext cx="749614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9FFDDBFD-5FB0-6846-9D7E-B92FEB14341C}" type="datetimeFigureOut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687272" y="653292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492083" y="6532922"/>
            <a:ext cx="651917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36D6F7B0-F2CD-7E47-8ADC-5FFE04B522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072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1445846" y="1006230"/>
            <a:ext cx="6270655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81538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defRPr sz="30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915840"/>
            <a:ext cx="9144000" cy="158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>
          <a:xfrm>
            <a:off x="1486271" y="6437882"/>
            <a:ext cx="749614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9FFDDBFD-5FB0-6846-9D7E-B92FEB14341C}" type="datetimeFigureOut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687272" y="653292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492083" y="6532922"/>
            <a:ext cx="651917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36D6F7B0-F2CD-7E47-8ADC-5FFE04B522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06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3659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832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376987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15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5261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7743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1253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6715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4965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4880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5887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3336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9494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1714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4"/>
            <a:ext cx="9144000" cy="6378406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2"/>
            <a:ext cx="4773613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9144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3355848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8211312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6344" y="5082579"/>
            <a:ext cx="8056564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ational Ecological Observatory Networ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0650" y="5400881"/>
            <a:ext cx="8693151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solidFill>
                  <a:schemeClr val="bg1"/>
                </a:solidFill>
              </a:rPr>
              <a:t>A project sponsored by the National Science Foundation and </a:t>
            </a:r>
            <a:r>
              <a:rPr lang="en-US" sz="1000" i="1" dirty="0" smtClean="0">
                <a:solidFill>
                  <a:schemeClr val="bg1"/>
                </a:solidFill>
              </a:rPr>
              <a:t>proudly </a:t>
            </a:r>
            <a:r>
              <a:rPr lang="en-US" sz="1000" i="1" smtClean="0">
                <a:solidFill>
                  <a:schemeClr val="bg1"/>
                </a:solidFill>
              </a:rPr>
              <a:t>operated by Battelle</a:t>
            </a:r>
            <a:endParaRPr lang="en-US" sz="1000" i="1" dirty="0">
              <a:solidFill>
                <a:schemeClr val="bg1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81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0138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472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8622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4337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8657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1390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9517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3509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0297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362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 bwMode="gray">
          <a:xfrm>
            <a:off x="0" y="5717788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 bwMode="gray">
          <a:xfrm>
            <a:off x="0" y="6012656"/>
            <a:ext cx="9144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6"/>
            <a:ext cx="8211312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80826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0" y="5918944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/>
        </p:nvSpPr>
        <p:spPr bwMode="gray">
          <a:xfrm>
            <a:off x="0" y="6019799"/>
            <a:ext cx="9144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 bwMode="gray">
          <a:xfrm>
            <a:off x="0" y="6139542"/>
            <a:ext cx="9144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8211312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8211312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8211312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233284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E7E4F7B2-9D93-4459-91D9-012FFEC46346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862628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8211312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8211312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74722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8211312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27448" y="1481328"/>
            <a:ext cx="3950208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968251" y="6510528"/>
            <a:ext cx="923544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FF4CE512-FFF4-410C-A486-C2590AF821FE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23199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37899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9009368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461962" y="6192078"/>
            <a:ext cx="8319275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 bwMode="gray">
          <a:xfrm>
            <a:off x="461962" y="6252068"/>
            <a:ext cx="8319275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reeform: Shape 13"/>
          <p:cNvSpPr/>
          <p:nvPr/>
        </p:nvSpPr>
        <p:spPr bwMode="white">
          <a:xfrm>
            <a:off x="8699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294" y="6516818"/>
            <a:ext cx="1097280" cy="184712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697065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8211312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8211312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53968" y="6510528"/>
            <a:ext cx="922566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9/5/2017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23616" y="6510528"/>
            <a:ext cx="558799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37486" y="6510528"/>
            <a:ext cx="4754880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62" y="6470668"/>
            <a:ext cx="747468" cy="300140"/>
          </a:xfrm>
          <a:prstGeom prst="rect">
            <a:avLst/>
          </a:prstGeom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783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683" r:id="rId18"/>
    <p:sldLayoutId id="2147483684" r:id="rId19"/>
    <p:sldLayoutId id="2147483704" r:id="rId20"/>
    <p:sldLayoutId id="2147483699" r:id="rId21"/>
    <p:sldLayoutId id="2147483702" r:id="rId22"/>
    <p:sldLayoutId id="2147483703" r:id="rId23"/>
    <p:sldLayoutId id="2147483722" r:id="rId24"/>
    <p:sldLayoutId id="2147483723" r:id="rId25"/>
    <p:sldLayoutId id="2147483724" r:id="rId26"/>
    <p:sldLayoutId id="2147483725" r:id="rId2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91DF3D-0646-4976-8388-4AB293F332F3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F82FA-7AC3-413D-8273-0840AB29FD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797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223CB2-27E2-4E60-A3D1-3B0E5D8D9DD2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A0B95C-834B-4D47-9227-20C51AC8C9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775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521" y="4223941"/>
            <a:ext cx="8211312" cy="875450"/>
          </a:xfrm>
        </p:spPr>
        <p:txBody>
          <a:bodyPr/>
          <a:lstStyle/>
          <a:p>
            <a:r>
              <a:rPr lang="en-US" dirty="0"/>
              <a:t>Protocol </a:t>
            </a:r>
            <a:r>
              <a:rPr lang="en-US" dirty="0" smtClean="0"/>
              <a:t>specific </a:t>
            </a:r>
            <a:r>
              <a:rPr lang="en-US" dirty="0"/>
              <a:t>slid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179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estrial Observation System (TO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539" b="-1153"/>
          <a:stretch/>
        </p:blipFill>
        <p:spPr>
          <a:xfrm>
            <a:off x="0" y="-288098"/>
            <a:ext cx="9144000" cy="645090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184490" y="5704563"/>
            <a:ext cx="28710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lant phenology at CPER</a:t>
            </a:r>
          </a:p>
        </p:txBody>
      </p:sp>
    </p:spTree>
    <p:extLst>
      <p:ext uri="{BB962C8B-B14F-4D97-AF65-F5344CB8AC3E}">
        <p14:creationId xmlns:p14="http://schemas.microsoft.com/office/powerpoint/2010/main" val="20002552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76612"/>
            <a:ext cx="9144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27660" y="5572214"/>
            <a:ext cx="264487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lant diversity at CPER</a:t>
            </a:r>
          </a:p>
        </p:txBody>
      </p:sp>
    </p:spTree>
    <p:extLst>
      <p:ext uri="{BB962C8B-B14F-4D97-AF65-F5344CB8AC3E}">
        <p14:creationId xmlns:p14="http://schemas.microsoft.com/office/powerpoint/2010/main" val="19621702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estrial Observation System (TOS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93" b="10794"/>
          <a:stretch/>
        </p:blipFill>
        <p:spPr>
          <a:xfrm>
            <a:off x="0" y="-37576"/>
            <a:ext cx="9144000" cy="61377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322143" y="5617038"/>
            <a:ext cx="267437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lant diversity at CPER</a:t>
            </a:r>
          </a:p>
        </p:txBody>
      </p:sp>
    </p:spTree>
    <p:extLst>
      <p:ext uri="{BB962C8B-B14F-4D97-AF65-F5344CB8AC3E}">
        <p14:creationId xmlns:p14="http://schemas.microsoft.com/office/powerpoint/2010/main" val="14361050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5" b="5206"/>
          <a:stretch/>
        </p:blipFill>
        <p:spPr>
          <a:xfrm>
            <a:off x="0" y="-12525"/>
            <a:ext cx="9144000" cy="610017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299587" y="5561577"/>
            <a:ext cx="372642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Herbaceous clip harvest at CPER</a:t>
            </a:r>
          </a:p>
        </p:txBody>
      </p:sp>
    </p:spTree>
    <p:extLst>
      <p:ext uri="{BB962C8B-B14F-4D97-AF65-F5344CB8AC3E}">
        <p14:creationId xmlns:p14="http://schemas.microsoft.com/office/powerpoint/2010/main" val="17571380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93"/>
          <a:stretch/>
        </p:blipFill>
        <p:spPr>
          <a:xfrm>
            <a:off x="0" y="-50102"/>
            <a:ext cx="9144000" cy="613148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572000" y="5555315"/>
            <a:ext cx="441468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orting herbaceous clip harvest in the lab</a:t>
            </a:r>
          </a:p>
        </p:txBody>
      </p:sp>
    </p:spTree>
    <p:extLst>
      <p:ext uri="{BB962C8B-B14F-4D97-AF65-F5344CB8AC3E}">
        <p14:creationId xmlns:p14="http://schemas.microsoft.com/office/powerpoint/2010/main" val="239751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1322" y="-16219"/>
            <a:ext cx="4584102" cy="611213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424515" y="5645739"/>
            <a:ext cx="196835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Riparian survey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7642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24" b="3927"/>
          <a:stretch/>
        </p:blipFill>
        <p:spPr>
          <a:xfrm>
            <a:off x="0" y="1"/>
            <a:ext cx="9127548" cy="60892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175818" y="5563129"/>
            <a:ext cx="58598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reventative maintenance of in-stream sensors at ARIK</a:t>
            </a:r>
          </a:p>
        </p:txBody>
      </p:sp>
    </p:spTree>
    <p:extLst>
      <p:ext uri="{BB962C8B-B14F-4D97-AF65-F5344CB8AC3E}">
        <p14:creationId xmlns:p14="http://schemas.microsoft.com/office/powerpoint/2010/main" val="2536879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6" t="90" r="6386" b="1"/>
          <a:stretch/>
        </p:blipFill>
        <p:spPr>
          <a:xfrm>
            <a:off x="0" y="119270"/>
            <a:ext cx="9144000" cy="598326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469005" y="5582789"/>
            <a:ext cx="313207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lot establishment at NIWO</a:t>
            </a:r>
          </a:p>
        </p:txBody>
      </p:sp>
    </p:spTree>
    <p:extLst>
      <p:ext uri="{BB962C8B-B14F-4D97-AF65-F5344CB8AC3E}">
        <p14:creationId xmlns:p14="http://schemas.microsoft.com/office/powerpoint/2010/main" val="9469649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estrial Observation System (TOS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1" r="8545"/>
          <a:stretch/>
        </p:blipFill>
        <p:spPr>
          <a:xfrm>
            <a:off x="0" y="-7829"/>
            <a:ext cx="9144000" cy="610188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910472" y="5609379"/>
            <a:ext cx="306125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Beetle collections at NIWO</a:t>
            </a:r>
          </a:p>
        </p:txBody>
      </p:sp>
    </p:spTree>
    <p:extLst>
      <p:ext uri="{BB962C8B-B14F-4D97-AF65-F5344CB8AC3E}">
        <p14:creationId xmlns:p14="http://schemas.microsoft.com/office/powerpoint/2010/main" val="208068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errestrial Observation System (TOS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4926563" y="5631418"/>
            <a:ext cx="42174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Beetle collections at NIWO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2" r="8416"/>
          <a:stretch/>
        </p:blipFill>
        <p:spPr>
          <a:xfrm>
            <a:off x="0" y="8613"/>
            <a:ext cx="9144000" cy="608544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910472" y="5609379"/>
            <a:ext cx="306125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Beetle collections at STER</a:t>
            </a:r>
          </a:p>
        </p:txBody>
      </p:sp>
    </p:spTree>
    <p:extLst>
      <p:ext uri="{BB962C8B-B14F-4D97-AF65-F5344CB8AC3E}">
        <p14:creationId xmlns:p14="http://schemas.microsoft.com/office/powerpoint/2010/main" val="2034749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76"/>
          <a:stretch/>
        </p:blipFill>
        <p:spPr>
          <a:xfrm>
            <a:off x="1892096" y="-157315"/>
            <a:ext cx="5247756" cy="624299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639081" y="5325212"/>
            <a:ext cx="3416178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Mosquito collections at CPER</a:t>
            </a:r>
          </a:p>
        </p:txBody>
      </p:sp>
    </p:spTree>
    <p:extLst>
      <p:ext uri="{BB962C8B-B14F-4D97-AF65-F5344CB8AC3E}">
        <p14:creationId xmlns:p14="http://schemas.microsoft.com/office/powerpoint/2010/main" val="6537619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4926563" y="5631418"/>
            <a:ext cx="42174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Beetle collections at NIWO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2" t="174" r="7732"/>
          <a:stretch/>
        </p:blipFill>
        <p:spPr>
          <a:xfrm>
            <a:off x="-37621" y="-39328"/>
            <a:ext cx="9202995" cy="612790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469625" y="5575567"/>
            <a:ext cx="254033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Tick dragging at STER</a:t>
            </a:r>
          </a:p>
        </p:txBody>
      </p:sp>
    </p:spTree>
    <p:extLst>
      <p:ext uri="{BB962C8B-B14F-4D97-AF65-F5344CB8AC3E}">
        <p14:creationId xmlns:p14="http://schemas.microsoft.com/office/powerpoint/2010/main" val="1317807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26"/>
            <a:ext cx="9144000" cy="608584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060831" y="5467224"/>
            <a:ext cx="500098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Early morning small mammal trapping at CPER</a:t>
            </a:r>
          </a:p>
        </p:txBody>
      </p:sp>
    </p:spTree>
    <p:extLst>
      <p:ext uri="{BB962C8B-B14F-4D97-AF65-F5344CB8AC3E}">
        <p14:creationId xmlns:p14="http://schemas.microsoft.com/office/powerpoint/2010/main" val="5755818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226"/>
            <a:ext cx="9144000" cy="608584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506066" y="5557542"/>
            <a:ext cx="351353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mtClean="0"/>
              <a:t>small </a:t>
            </a:r>
            <a:r>
              <a:rPr lang="en-US" dirty="0"/>
              <a:t>mammal trapping at CPER</a:t>
            </a:r>
          </a:p>
        </p:txBody>
      </p:sp>
    </p:spTree>
    <p:extLst>
      <p:ext uri="{BB962C8B-B14F-4D97-AF65-F5344CB8AC3E}">
        <p14:creationId xmlns:p14="http://schemas.microsoft.com/office/powerpoint/2010/main" val="1859502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D6F7B0-F2CD-7E47-8ADC-5FFE04B522BF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99" t="-636" r="3144"/>
          <a:stretch/>
        </p:blipFill>
        <p:spPr>
          <a:xfrm>
            <a:off x="-9832" y="-147484"/>
            <a:ext cx="9163664" cy="623053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515899" y="5617038"/>
            <a:ext cx="355927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Small mammal trapping at NIWO</a:t>
            </a:r>
          </a:p>
        </p:txBody>
      </p:sp>
    </p:spTree>
    <p:extLst>
      <p:ext uri="{BB962C8B-B14F-4D97-AF65-F5344CB8AC3E}">
        <p14:creationId xmlns:p14="http://schemas.microsoft.com/office/powerpoint/2010/main" val="325557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Battelle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eme1" id="{E2E9B0D7-9969-4A14-86BA-BC0C974B6DB3}" vid="{BE681585-B50B-4DE7-9F39-F88FA0C9945B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8AA6CA7D000842A944B936E87AEFB6" ma:contentTypeVersion="4" ma:contentTypeDescription="Create a new document." ma:contentTypeScope="" ma:versionID="41549b0553b68974b8751fb5fc71a603">
  <xsd:schema xmlns:xsd="http://www.w3.org/2001/XMLSchema" xmlns:xs="http://www.w3.org/2001/XMLSchema" xmlns:p="http://schemas.microsoft.com/office/2006/metadata/properties" xmlns:ns1="http://schemas.microsoft.com/sharepoint/v3" xmlns:ns2="42d4191b-ef87-40f8-a2ec-45b7baf1e568" xmlns:ns3="0bbea745-dd87-4d8f-af52-8a14390709bb" targetNamespace="http://schemas.microsoft.com/office/2006/metadata/properties" ma:root="true" ma:fieldsID="e932d9f115ef7cab2813549fffa131dd" ns1:_="" ns2:_="" ns3:_="">
    <xsd:import namespace="http://schemas.microsoft.com/sharepoint/v3"/>
    <xsd:import namespace="42d4191b-ef87-40f8-a2ec-45b7baf1e568"/>
    <xsd:import namespace="0bbea745-dd87-4d8f-af52-8a14390709b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d4191b-ef87-40f8-a2ec-45b7baf1e56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bea745-dd87-4d8f-af52-8a14390709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F0B3FA6-2D02-4C21-B55C-B0A0FF46F7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4AC987D-018F-4ED0-B173-B82EFDE612B5}">
  <ds:schemaRefs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sharepoint/v3"/>
    <ds:schemaRef ds:uri="http://schemas.microsoft.com/office/infopath/2007/PartnerControls"/>
    <ds:schemaRef ds:uri="http://schemas.openxmlformats.org/package/2006/metadata/core-properties"/>
    <ds:schemaRef ds:uri="32cad255-ff18-4f86-959e-c4ab620632b1"/>
  </ds:schemaRefs>
</ds:datastoreItem>
</file>

<file path=customXml/itemProps3.xml><?xml version="1.0" encoding="utf-8"?>
<ds:datastoreItem xmlns:ds="http://schemas.openxmlformats.org/officeDocument/2006/customXml" ds:itemID="{528F9E15-1ABB-4A70-9D68-9BFDA43EF693}"/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3650</TotalTime>
  <Words>313</Words>
  <Application>Microsoft Office PowerPoint</Application>
  <PresentationFormat>On-screen Show (4:3)</PresentationFormat>
  <Paragraphs>50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Wingdings</vt:lpstr>
      <vt:lpstr>Theme1</vt:lpstr>
      <vt:lpstr>1_Custom Design</vt:lpstr>
      <vt:lpstr>Custom Design</vt:lpstr>
      <vt:lpstr>think-cell Slide</vt:lpstr>
      <vt:lpstr>Protocol specific slides</vt:lpstr>
      <vt:lpstr>PowerPoint Presentation</vt:lpstr>
      <vt:lpstr>Terrestrial Observation System (TOS)</vt:lpstr>
      <vt:lpstr>Terrestrial Observation System (TO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rrestrial Observation System (TOS)</vt:lpstr>
      <vt:lpstr>PowerPoint Presentation</vt:lpstr>
      <vt:lpstr>Terrestrial Observation System (TOS)</vt:lpstr>
      <vt:lpstr>PowerPoint Presentation</vt:lpstr>
      <vt:lpstr>PowerPoint Presentation</vt:lpstr>
      <vt:lpstr>PowerPoint Presentation</vt:lpstr>
      <vt:lpstr>PowerPoint Presentation</vt:lpstr>
    </vt:vector>
  </TitlesOfParts>
  <Company>Battell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itle of Presentation</dc:title>
  <dc:creator>www.wizkit.com</dc:creator>
  <cp:lastModifiedBy>Kat Bevington</cp:lastModifiedBy>
  <cp:revision>221</cp:revision>
  <cp:lastPrinted>2017-02-16T22:37:57Z</cp:lastPrinted>
  <dcterms:created xsi:type="dcterms:W3CDTF">2014-03-04T19:43:17Z</dcterms:created>
  <dcterms:modified xsi:type="dcterms:W3CDTF">2017-09-05T20:3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618AA6CA7D000842A944B936E87AEFB6</vt:lpwstr>
  </property>
  <property fmtid="{D5CDD505-2E9C-101B-9397-08002B2CF9AE}" pid="5" name="_dlc_DocIdItemGuid">
    <vt:lpwstr>8c6a52ef-448f-45ce-9b74-b0d499956ee4</vt:lpwstr>
  </property>
</Properties>
</file>